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72" r:id="rId3"/>
    <p:sldMasterId id="2147483678" r:id="rId4"/>
    <p:sldMasterId id="2147483826" r:id="rId5"/>
    <p:sldMasterId id="2147483834" r:id="rId6"/>
  </p:sldMasterIdLst>
  <p:notesMasterIdLst>
    <p:notesMasterId r:id="rId9"/>
  </p:notesMasterIdLst>
  <p:sldIdLst>
    <p:sldId id="656" r:id="rId7"/>
    <p:sldId id="664" r:id="rId8"/>
  </p:sldIdLst>
  <p:sldSz cx="9906000" cy="6858000" type="A4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8E3A"/>
    <a:srgbClr val="1B6231"/>
    <a:srgbClr val="00AC00"/>
    <a:srgbClr val="00CC00"/>
    <a:srgbClr val="2B6030"/>
    <a:srgbClr val="248341"/>
    <a:srgbClr val="6AA744"/>
    <a:srgbClr val="FAC090"/>
    <a:srgbClr val="A4CF8A"/>
    <a:srgbClr val="D1E7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08" autoAdjust="0"/>
    <p:restoredTop sz="94010" autoAdjust="0"/>
  </p:normalViewPr>
  <p:slideViewPr>
    <p:cSldViewPr>
      <p:cViewPr varScale="1">
        <p:scale>
          <a:sx n="86" d="100"/>
          <a:sy n="86" d="100"/>
        </p:scale>
        <p:origin x="-1218" y="-90"/>
      </p:cViewPr>
      <p:guideLst>
        <p:guide orient="horz" pos="2160"/>
        <p:guide pos="312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293FBD65-B95C-4A82-8688-AD175EB50524}" type="datetimeFigureOut">
              <a:rPr lang="ru-RU"/>
              <a:pPr>
                <a:defRPr/>
              </a:pPr>
              <a:t>06.07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5" rIns="91413" bIns="45705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6" y="4715714"/>
            <a:ext cx="5438775" cy="4466511"/>
          </a:xfrm>
          <a:prstGeom prst="rect">
            <a:avLst/>
          </a:prstGeom>
        </p:spPr>
        <p:txBody>
          <a:bodyPr vert="horz" lIns="91413" tIns="45705" rIns="91413" bIns="45705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 anchor="b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wrap="square" lIns="91413" tIns="45705" rIns="91413" bIns="4570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E7EE48C8-3C03-47C2-8AE3-C653C2BCDF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374780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34008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15.png"/><Relationship Id="rId2" Type="http://schemas.openxmlformats.org/officeDocument/2006/relationships/tags" Target="../tags/tag5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2.xml"/><Relationship Id="rId7" Type="http://schemas.openxmlformats.org/officeDocument/2006/relationships/image" Target="../media/image16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52B69A64-0B09-4317-B015-CBBFE0FC1D4D}"/>
              </a:ext>
            </a:extLst>
          </p:cNvPr>
          <p:cNvSpPr/>
          <p:nvPr userDrawn="1"/>
        </p:nvSpPr>
        <p:spPr bwMode="auto">
          <a:xfrm>
            <a:off x="278082" y="2519201"/>
            <a:ext cx="39986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3074">
              <a:defRPr/>
            </a:pPr>
            <a:endParaRPr lang="ru-RU" sz="6722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F38AB24D-97EE-4071-B80D-2624DCD3CFB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65" r="76724" b="1"/>
          <a:stretch/>
        </p:blipFill>
        <p:spPr bwMode="auto">
          <a:xfrm>
            <a:off x="272157" y="209551"/>
            <a:ext cx="499480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017" y="260404"/>
            <a:ext cx="1903831" cy="655295"/>
          </a:xfrm>
          <a:prstGeom prst="rect">
            <a:avLst/>
          </a:prstGeom>
        </p:spPr>
      </p:pic>
      <p:sp>
        <p:nvSpPr>
          <p:cNvPr id="2" name="Прямоугольник 1"/>
          <p:cNvSpPr/>
          <p:nvPr userDrawn="1"/>
        </p:nvSpPr>
        <p:spPr>
          <a:xfrm>
            <a:off x="0" y="6345238"/>
            <a:ext cx="9906000" cy="5127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8659673" y="2542604"/>
            <a:ext cx="974178" cy="1162212"/>
            <a:chOff x="10658050" y="1854277"/>
            <a:chExt cx="1198988" cy="1162212"/>
          </a:xfrm>
        </p:grpSpPr>
        <p:sp>
          <p:nvSpPr>
            <p:cNvPr id="22" name="Прямоугольник 21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6" name="Прямоугольник 25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Прямоугольник 27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" name="Группа 3"/>
          <p:cNvGrpSpPr/>
          <p:nvPr userDrawn="1"/>
        </p:nvGrpSpPr>
        <p:grpSpPr>
          <a:xfrm>
            <a:off x="0" y="6345238"/>
            <a:ext cx="9906000" cy="512762"/>
            <a:chOff x="10658050" y="1854277"/>
            <a:chExt cx="1198988" cy="1162212"/>
          </a:xfrm>
        </p:grpSpPr>
        <p:sp>
          <p:nvSpPr>
            <p:cNvPr id="3" name="Прямоугольник 2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75296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8980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9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96096" anchor="ctr">
            <a:normAutofit/>
          </a:bodyPr>
          <a:lstStyle>
            <a:lvl1pPr algn="l">
              <a:defRPr sz="26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890" y="534397"/>
            <a:ext cx="3466870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85" tIns="47893" rIns="95785" bIns="47893" rtlCol="0" anchor="ctr"/>
          <a:lstStyle/>
          <a:p>
            <a:pPr algn="ctr" eaLnBrk="1" hangingPunct="1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35955"/>
            <a:ext cx="4104565" cy="230832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684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4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0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36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5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442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7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342940" y="6641771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7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5426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716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8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20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69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2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7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27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6994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4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70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6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342940" y="6641767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58" y="545303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8354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пов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2158" y="6501155"/>
            <a:ext cx="699224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540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3571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4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88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18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88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65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C428FCB-CA97-429A-802A-56362EDE10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748876"/>
              </p:ext>
            </p:extLst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F4E35F00-3D22-4AE3-9BC8-DCEB0707C4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pic>
        <p:nvPicPr>
          <p:cNvPr id="10" name="Picture 9" descr="Logo.png">
            <a:extLst>
              <a:ext uri="{FF2B5EF4-FFF2-40B4-BE49-F238E27FC236}">
                <a16:creationId xmlns:a16="http://schemas.microsoft.com/office/drawing/2014/main" xmlns="" id="{72345BAE-42AE-4313-BF72-EE4FF74D258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752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6" name="bk object 16">
            <a:extLst>
              <a:ext uri="{FF2B5EF4-FFF2-40B4-BE49-F238E27FC236}">
                <a16:creationId xmlns:a16="http://schemas.microsoft.com/office/drawing/2014/main" xmlns="" id="{73B7D639-D7A1-474B-890E-DD71D2F9FC85}"/>
              </a:ext>
            </a:extLst>
          </p:cNvPr>
          <p:cNvSpPr/>
          <p:nvPr userDrawn="1"/>
        </p:nvSpPr>
        <p:spPr>
          <a:xfrm>
            <a:off x="5345" y="924875"/>
            <a:ext cx="9895312" cy="5618894"/>
          </a:xfrm>
          <a:custGeom>
            <a:avLst/>
            <a:gdLst/>
            <a:ahLst/>
            <a:cxnLst/>
            <a:rect l="l" t="t" r="r" b="b"/>
            <a:pathLst>
              <a:path w="15119985" h="8640445">
                <a:moveTo>
                  <a:pt x="0" y="8640000"/>
                </a:moveTo>
                <a:lnTo>
                  <a:pt x="15119985" y="8640000"/>
                </a:lnTo>
                <a:lnTo>
                  <a:pt x="15119985" y="0"/>
                </a:lnTo>
                <a:lnTo>
                  <a:pt x="0" y="0"/>
                </a:lnTo>
                <a:lnTo>
                  <a:pt x="0" y="8640000"/>
                </a:lnTo>
                <a:close/>
              </a:path>
            </a:pathLst>
          </a:custGeom>
          <a:solidFill>
            <a:srgbClr val="EBEBEC"/>
          </a:solidFill>
        </p:spPr>
        <p:txBody>
          <a:bodyPr wrap="square" lIns="0" tIns="0" rIns="0" bIns="0" rtlCol="0"/>
          <a:lstStyle/>
          <a:p>
            <a:pPr eaLnBrk="1" hangingPunct="1"/>
            <a:endParaRPr sz="16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372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798454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9003856E-8774-4B5D-A5D0-A2CE1C04D1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1606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3890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5304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7132467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B0DB22AB-69EB-4A23-8BA7-3B16DB152FE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32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2D3BBBD2-0A58-4C01-A729-A5628440B69B}"/>
              </a:ext>
            </a:extLst>
          </p:cNvPr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9906000" cy="6858200"/>
          </a:xfrm>
          <a:custGeom>
            <a:avLst/>
            <a:gdLst>
              <a:gd name="connsiteX0" fmla="*/ 0 w 11949113"/>
              <a:gd name="connsiteY0" fmla="*/ 0 h 6721671"/>
              <a:gd name="connsiteX1" fmla="*/ 11949113 w 11949113"/>
              <a:gd name="connsiteY1" fmla="*/ 0 h 6721671"/>
              <a:gd name="connsiteX2" fmla="*/ 11949113 w 11949113"/>
              <a:gd name="connsiteY2" fmla="*/ 6721671 h 6721671"/>
              <a:gd name="connsiteX3" fmla="*/ 0 w 11949113"/>
              <a:gd name="connsiteY3" fmla="*/ 6721671 h 672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49113" h="6721671">
                <a:moveTo>
                  <a:pt x="0" y="0"/>
                </a:moveTo>
                <a:lnTo>
                  <a:pt x="11949113" y="0"/>
                </a:lnTo>
                <a:lnTo>
                  <a:pt x="11949113" y="6721671"/>
                </a:lnTo>
                <a:lnTo>
                  <a:pt x="0" y="6721671"/>
                </a:lnTo>
                <a:close/>
              </a:path>
            </a:pathLst>
          </a:cu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305871" y="1"/>
            <a:ext cx="7601911" cy="405147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624374" y="6415250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b="1" dirty="0">
                <a:solidFill>
                  <a:srgbClr val="FFFFFF"/>
                </a:solidFill>
                <a:latin typeface="Arial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624369" y="6540861"/>
            <a:ext cx="328163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624374" y="6666472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Printed 01.08.2019 1:19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507352" y="1463559"/>
            <a:ext cx="6888499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507352" y="3182433"/>
            <a:ext cx="6888499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507352" y="3654979"/>
            <a:ext cx="688849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9333928" y="37256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2507376" y="6289689"/>
            <a:ext cx="3918049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КОНФИДЕНЦИАЛЬНАЯ ИНФОРМАЦИЯ, СОБСТВЕННОСТЬ ООО
"Мак-Кинзи и Компания СиАйЭс"</a:t>
            </a:r>
          </a:p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TitleRectangle">
            <a:extLst>
              <a:ext uri="{FF2B5EF4-FFF2-40B4-BE49-F238E27FC236}">
                <a16:creationId xmlns:a16="http://schemas.microsoft.com/office/drawing/2014/main" xmlns="" id="{1A21AE3C-3168-43FD-A6E7-38F7FA78FA72}"/>
              </a:ext>
            </a:extLst>
          </p:cNvPr>
          <p:cNvSpPr>
            <a:spLocks/>
          </p:cNvSpPr>
          <p:nvPr/>
        </p:nvSpPr>
        <p:spPr bwMode="white">
          <a:xfrm>
            <a:off x="2305871" y="4051722"/>
            <a:ext cx="7601911" cy="71685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17BC9850-2AC6-4416-9C05-C2F3121F15E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2507349" y="3962982"/>
            <a:ext cx="2336752" cy="71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67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BBE5E64-B1B7-43FC-A758-D6317C78A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121745C-5EDD-41F0-8FCB-832BBC6DA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pic>
        <p:nvPicPr>
          <p:cNvPr id="4" name="Picture 3" descr="Logo.png">
            <a:extLst>
              <a:ext uri="{FF2B5EF4-FFF2-40B4-BE49-F238E27FC236}">
                <a16:creationId xmlns:a16="http://schemas.microsoft.com/office/drawing/2014/main" xmlns="" id="{914DD3D8-84A8-4A4D-9B17-070134E3F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07E6A617-CF95-450D-AE68-41222165E3B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186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2059784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2267371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3134264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3370263"/>
            <a:ext cx="9361685" cy="6477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4236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4704066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0393993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4363107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7866342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0198210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9843658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9864888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0764974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:a16="http://schemas.microsoft.com/office/drawing/2014/main" xmlns="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6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xmlns="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577642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xmlns="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xmlns="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92543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нверс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8032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xmlns="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xmlns="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2839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:a16="http://schemas.microsoft.com/office/drawing/2014/main" xmlns="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6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xmlns="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313085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6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5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1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901" y="2384265"/>
            <a:ext cx="168463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069944"/>
            <a:ext cx="4357498" cy="800219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6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5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3" y="6452334"/>
            <a:ext cx="915273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en-US" sz="17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7385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3139"/>
            <a:ext cx="6071702" cy="323165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4" y="6582259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824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6" y="6634080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221111" y="6634080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7040" eaLnBrk="1" hangingPunct="1"/>
            <a:r>
              <a:rPr lang="ru-RU" sz="9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8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87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4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21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41.xml"/><Relationship Id="rId34" Type="http://schemas.openxmlformats.org/officeDocument/2006/relationships/tags" Target="../tags/tag54.xml"/><Relationship Id="rId7" Type="http://schemas.openxmlformats.org/officeDocument/2006/relationships/vmlDrawing" Target="../drawings/vmlDrawing13.v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tags" Target="../tags/tag53.xml"/><Relationship Id="rId38" Type="http://schemas.openxmlformats.org/officeDocument/2006/relationships/image" Target="../media/image8.emf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tags" Target="../tags/tag49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tags" Target="../tags/tag52.xml"/><Relationship Id="rId37" Type="http://schemas.openxmlformats.org/officeDocument/2006/relationships/oleObject" Target="../embeddings/oleObject13.bin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36" Type="http://schemas.openxmlformats.org/officeDocument/2006/relationships/tags" Target="../tags/tag56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tags" Target="../tags/tag51.xml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tags" Target="../tags/tag50.xml"/><Relationship Id="rId35" Type="http://schemas.openxmlformats.org/officeDocument/2006/relationships/tags" Target="../tags/tag5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3940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832" r:id="rId5"/>
    <p:sldLayoutId id="2147483833" r:id="rId6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743078" rtl="0" eaLnBrk="1" latinLnBrk="0" hangingPunct="1">
        <a:lnSpc>
          <a:spcPct val="90000"/>
        </a:lnSpc>
        <a:spcBef>
          <a:spcPct val="0"/>
        </a:spcBef>
        <a:buNone/>
        <a:defRPr sz="357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70" indent="-185770" algn="l" defTabSz="743078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30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84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38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92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46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5005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54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808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539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307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61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615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696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9235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77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231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62" y="305742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9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51601" indent="-651601" defTabSz="957040" eaLnBrk="1" hangingPunct="1">
              <a:tabLst>
                <a:tab pos="673661" algn="l"/>
              </a:tabLst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15416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22234"/>
            <a:ext cx="4713466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5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5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074696" y="291610"/>
            <a:ext cx="527837" cy="166199"/>
            <a:chOff x="8263269" y="285750"/>
            <a:chExt cx="477506" cy="1628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3269" y="285750"/>
              <a:ext cx="477506" cy="1628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7040" eaLnBrk="1" hangingPunct="1">
                <a:buClr>
                  <a:srgbClr val="002960"/>
                </a:buClr>
              </a:pPr>
              <a:r>
                <a:rPr lang="ru-RU" sz="9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3269" y="285750"/>
              <a:ext cx="0" cy="1628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3269" y="448641"/>
              <a:ext cx="47750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68472"/>
            <a:ext cx="607170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476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957040" rtl="0" eaLnBrk="1" fontAlgn="base" hangingPunct="1">
        <a:spcBef>
          <a:spcPct val="0"/>
        </a:spcBef>
        <a:spcAft>
          <a:spcPct val="0"/>
        </a:spcAft>
        <a:tabLst>
          <a:tab pos="288469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88701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7402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66103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54804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500" baseline="0">
          <a:solidFill>
            <a:schemeClr val="tx1"/>
          </a:solidFill>
          <a:latin typeface="+mn-lt"/>
          <a:ea typeface="+mn-ea"/>
          <a:cs typeface="+mn-cs"/>
        </a:defRPr>
      </a:lvl1pPr>
      <a:lvl2pPr marL="207019" indent="-205323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500" baseline="0">
          <a:solidFill>
            <a:schemeClr val="tx1"/>
          </a:solidFill>
          <a:latin typeface="+mn-lt"/>
        </a:defRPr>
      </a:lvl2pPr>
      <a:lvl3pPr marL="488701" indent="-279986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 baseline="0">
          <a:solidFill>
            <a:schemeClr val="tx1"/>
          </a:solidFill>
          <a:latin typeface="+mn-lt"/>
        </a:defRPr>
      </a:lvl3pPr>
      <a:lvl4pPr marL="656693" indent="-16629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500" baseline="0">
          <a:solidFill>
            <a:schemeClr val="tx1"/>
          </a:solidFill>
          <a:latin typeface="+mn-lt"/>
        </a:defRPr>
      </a:lvl4pPr>
      <a:lvl5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 baseline="0">
          <a:solidFill>
            <a:schemeClr val="tx1"/>
          </a:solidFill>
          <a:latin typeface="+mn-lt"/>
        </a:defRPr>
      </a:lvl5pPr>
      <a:lvl6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701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402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103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804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505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206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08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609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4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589" y="291609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8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36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615" y="291605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4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0692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3300908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8" name="think-cell Slide" r:id="rId37" imgW="360" imgH="360" progId="">
                  <p:embed/>
                </p:oleObj>
              </mc:Choice>
              <mc:Fallback>
                <p:oleObj name="think-cell Slide" r:id="rId37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805299" y="1980988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34340" y="4198976"/>
            <a:ext cx="178895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Printed 01.08.2019 1:19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621" y="234865"/>
            <a:ext cx="9526956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31624" y="7735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31621" y="566137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31621" y="6434031"/>
            <a:ext cx="9526956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31613" y="6639740"/>
            <a:ext cx="795890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 eaLnBrk="1" hangingPunct="1">
              <a:tabLst>
                <a:tab pos="630238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283301"/>
            <a:ext cx="4713466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6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6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84985" y="291606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9405874" y="6455860"/>
            <a:ext cx="5053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8338856" y="277937"/>
            <a:ext cx="1217526" cy="772637"/>
            <a:chOff x="7607284" y="279400"/>
            <a:chExt cx="1101432" cy="75725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2794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5461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 err="1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259" y="825501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8679118" y="277993"/>
            <a:ext cx="877089" cy="1044754"/>
            <a:chOff x="5894005" y="919828"/>
            <a:chExt cx="793455" cy="102395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919828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189703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461166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005" y="1732629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8605572" y="277476"/>
            <a:ext cx="950792" cy="1340748"/>
            <a:chOff x="5894005" y="2695123"/>
            <a:chExt cx="860132" cy="131405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69654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297415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24859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521448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680" y="379668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5733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7254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52" r:id="rId13"/>
  </p:sldLayoutIdLst>
  <p:hf hd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konkyrs-fermer61@dongau.ru" TargetMode="External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44525" y="116632"/>
            <a:ext cx="2773395" cy="987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5877272"/>
            <a:ext cx="2488537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56574" y="2666653"/>
            <a:ext cx="8279746" cy="868515"/>
          </a:xfrm>
          <a:prstGeom prst="rect">
            <a:avLst/>
          </a:prstGeom>
        </p:spPr>
        <p:txBody>
          <a:bodyPr lIns="87750" rIns="146250" anchor="ctr">
            <a:noAutofit/>
          </a:bodyPr>
          <a:lstStyle>
            <a:lvl1pPr algn="l" defTabSz="914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2B603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ru-RU" altLang="ru-RU" sz="1950" cap="all" dirty="0" smtClean="0">
                <a:solidFill>
                  <a:schemeClr val="tx1"/>
                </a:solidFill>
              </a:rPr>
              <a:t>ШКОЛА ФЕРМЕРА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29064" y="2348880"/>
            <a:ext cx="4186835" cy="331236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/>
          <a:srcRect l="35790" t="7532" r="35837" b="54340"/>
          <a:stretch/>
        </p:blipFill>
        <p:spPr>
          <a:xfrm>
            <a:off x="9129464" y="11663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:p14="http://schemas.microsoft.com/office/powerpoint/2010/main" val="261443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Школа фермера. Ростов-на-Дону.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sp>
        <p:nvSpPr>
          <p:cNvPr id="8" name="Прямоугольник 7"/>
          <p:cNvSpPr/>
          <p:nvPr/>
        </p:nvSpPr>
        <p:spPr>
          <a:xfrm>
            <a:off x="272480" y="836712"/>
            <a:ext cx="9198235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Ростовский РФ АО Россельхозбанк совместно с </a:t>
            </a:r>
            <a:r>
              <a:rPr lang="ru-RU" sz="1400" b="1" dirty="0">
                <a:solidFill>
                  <a:srgbClr val="000000"/>
                </a:solidFill>
                <a:latin typeface="+mn-lt"/>
              </a:rPr>
              <a:t>Министерством сельского хозяйства и продовольствия Ростовской области,  Донским государственным аграрным </a:t>
            </a:r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университетом запускает  проект «Школа фермера» в Ростовской области</a:t>
            </a:r>
          </a:p>
          <a:p>
            <a:pPr algn="just"/>
            <a:endParaRPr lang="ru-RU" sz="5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Обучение по направлениям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РАЗВИТИЕ СЕЛЬСКОХОЗЯЙСТВЕННОЙ ПОТРЕБИТЕЛЬСКОЙ КООПЕРАЦИИ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ОРГАНИЗАЦИЯ И ФУНКЦИОНИРОВАНИЕ КРЕСТЬЯНСКОГО (ФЕРМЕРСКОГО) ХОЗЯЙСТВА В СОВРЕМЕННЫХ УСЛОВИЯХ. Профиль: «Молочное животноводство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Участниками могут стать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физические лица, имеющие в собственности либо в наследовании земельный участок </a:t>
            </a: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назначения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или иное имущество для осуществления сельскохозяйственной деятельности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товаропроизводители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, решившие освоить новые направления деятельности, повысить квалификацию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лица, ведущие личное подсобное хозяйство ( ЛПХ) </a:t>
            </a:r>
          </a:p>
          <a:p>
            <a:pPr algn="just"/>
            <a:endParaRPr lang="ru-RU" sz="14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Начало обучения - </a:t>
            </a:r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01.09.2021</a:t>
            </a: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Заявки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участие принимаются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12 июля по 19 августа 2021г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электронную почту: </a:t>
            </a: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hlinkClick r:id="rId3"/>
              </a:rPr>
              <a:t>konkyrs-fermer61@dongau.ru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тел </a:t>
            </a: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 903 434 66 49</a:t>
            </a:r>
            <a:endParaRPr lang="ru-RU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дробную информацию можно узнать по тел: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 938 112 89 25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или направив обращение на сайт </a:t>
            </a:r>
            <a:r>
              <a:rPr lang="ru-RU" sz="1200" u="sng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www.rshb.ru </a:t>
            </a:r>
          </a:p>
          <a:p>
            <a:endParaRPr lang="ru-RU" sz="1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писок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участников, прошедших конкурсный отбор будет размещен на сайтах: 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shb.ru</a:t>
            </a:r>
            <a:r>
              <a:rPr lang="ru-RU" sz="12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don-agro.ru, dongau.ru </a:t>
            </a:r>
            <a:endParaRPr lang="ru-RU" sz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е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зднее 31 августа 2021 года.</a:t>
            </a:r>
          </a:p>
          <a:p>
            <a:endParaRPr lang="ru-RU" sz="1200" b="1" dirty="0" smtClean="0">
              <a:solidFill>
                <a:srgbClr val="5A8E3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r>
              <a:rPr lang="ru-RU" sz="1200" b="1" dirty="0">
                <a:solidFill>
                  <a:srgbClr val="5A8E3A"/>
                </a:solidFill>
                <a:latin typeface="+mn-lt"/>
              </a:rPr>
              <a:t>По окончании обучения слушателям выдается диплом государственного образца</a:t>
            </a:r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.</a:t>
            </a:r>
            <a:endParaRPr lang="ru-RU" sz="1200" b="1" dirty="0">
              <a:solidFill>
                <a:srgbClr val="5A8E3A"/>
              </a:solidFill>
              <a:latin typeface="+mn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586222" y="5632979"/>
            <a:ext cx="1686160" cy="95263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673080" y="5639516"/>
            <a:ext cx="1702971" cy="94609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851614" y="5632979"/>
            <a:ext cx="1611295" cy="92546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print"/>
          <a:srcRect l="35790" t="7532" r="35837" b="54340"/>
          <a:stretch/>
        </p:blipFill>
        <p:spPr>
          <a:xfrm>
            <a:off x="9123945" y="6305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:p14="http://schemas.microsoft.com/office/powerpoint/2010/main" val="7880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jSWz6S4CyUR4Goq.Oq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sFXMgYn_tw7eoVENqEE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0CNDwwTAmaBtfVNCc1.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3.xml><?xml version="1.0" encoding="utf-8"?>
<a:theme xmlns:a="http://schemas.openxmlformats.org/drawingml/2006/main" name="2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4.xml><?xml version="1.0" encoding="utf-8"?>
<a:theme xmlns:a="http://schemas.openxmlformats.org/drawingml/2006/main" name="3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5.xml><?xml version="1.0" encoding="utf-8"?>
<a:theme xmlns:a="http://schemas.openxmlformats.org/drawingml/2006/main" name="Firm Format - template_Blue">
  <a:themeElements>
    <a:clrScheme name="Custom 4">
      <a:dk1>
        <a:srgbClr val="000000"/>
      </a:dk1>
      <a:lt1>
        <a:srgbClr val="FFFFFF"/>
      </a:lt1>
      <a:dk2>
        <a:srgbClr val="144A1B"/>
      </a:dk2>
      <a:lt2>
        <a:srgbClr val="FFFFFF"/>
      </a:lt2>
      <a:accent1>
        <a:srgbClr val="E6E6E6"/>
      </a:accent1>
      <a:accent2>
        <a:srgbClr val="A2B52D"/>
      </a:accent2>
      <a:accent3>
        <a:srgbClr val="00790D"/>
      </a:accent3>
      <a:accent4>
        <a:srgbClr val="144A1B"/>
      </a:accent4>
      <a:accent5>
        <a:srgbClr val="F27F00"/>
      </a:accent5>
      <a:accent6>
        <a:srgbClr val="808080"/>
      </a:accent6>
      <a:hlink>
        <a:srgbClr val="00790D"/>
      </a:hlink>
      <a:folHlink>
        <a:srgbClr val="144A1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blue - normal" id="{D3E13674-A1AE-4CD7-A766-C89FB4327D25}" vid="{EFCF8206-EE22-4ED1-8604-A72CD5CE5B04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884</TotalTime>
  <Words>135</Words>
  <Application>Microsoft Office PowerPoint</Application>
  <PresentationFormat>Лист A4 (210x297 мм)</PresentationFormat>
  <Paragraphs>28</Paragraphs>
  <Slides>2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9" baseType="lpstr">
      <vt:lpstr>Специальное оформление</vt:lpstr>
      <vt:lpstr>1_RSHB</vt:lpstr>
      <vt:lpstr>2_RSHB</vt:lpstr>
      <vt:lpstr>3_RSHB</vt:lpstr>
      <vt:lpstr>Firm Format - template_Blue</vt:lpstr>
      <vt:lpstr>Тема Office</vt:lpstr>
      <vt:lpstr>think-cell Slide</vt:lpstr>
      <vt:lpstr>Презентация PowerPoint</vt:lpstr>
      <vt:lpstr> </vt:lpstr>
    </vt:vector>
  </TitlesOfParts>
  <Company>Россельхозбанк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йгелова Жанна Урынбасаровна</dc:creator>
  <cp:lastModifiedBy>Пользователь</cp:lastModifiedBy>
  <cp:revision>879</cp:revision>
  <cp:lastPrinted>2021-04-12T13:43:07Z</cp:lastPrinted>
  <dcterms:created xsi:type="dcterms:W3CDTF">2019-11-26T12:29:04Z</dcterms:created>
  <dcterms:modified xsi:type="dcterms:W3CDTF">2021-07-06T13:40:55Z</dcterms:modified>
</cp:coreProperties>
</file>